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8615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806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9cq1lPPeMUY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hlinkClick r:id="rId2"/>
            <a:extLst>
              <a:ext uri="{FF2B5EF4-FFF2-40B4-BE49-F238E27FC236}">
                <a16:creationId xmlns:a16="http://schemas.microsoft.com/office/drawing/2014/main" id="{92B851CD-6B90-4B63-B676-9452915D2B27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r="9944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6 August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Matt Damon, Abigail Breslin, Camille </a:t>
            </a:r>
            <a:r>
              <a:rPr lang="en-US" dirty="0" err="1">
                <a:solidFill>
                  <a:schemeClr val="accent6"/>
                </a:solidFill>
              </a:rPr>
              <a:t>Cottin</a:t>
            </a: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om McCarthy (</a:t>
            </a:r>
            <a:r>
              <a:rPr lang="en-US" i="1" dirty="0">
                <a:solidFill>
                  <a:schemeClr val="accent6"/>
                </a:solidFill>
              </a:rPr>
              <a:t>Spotlight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Green Boo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om McCarthy showed an aptitude for deep and delicately-handled storytelling with the Best Picture-winner </a:t>
            </a:r>
            <a:r>
              <a:rPr lang="en-US" i="1" dirty="0">
                <a:solidFill>
                  <a:schemeClr val="accent6"/>
                </a:solidFill>
              </a:rPr>
              <a:t>Spotlight</a:t>
            </a:r>
            <a:r>
              <a:rPr lang="en-US" dirty="0">
                <a:solidFill>
                  <a:schemeClr val="accent6"/>
                </a:solidFill>
              </a:rPr>
              <a:t>, and Matt Damon is one of Hollywood’s highest-grossing stars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BC1 Men Index: 183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04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A father travels from Oklahoma to France to help his daughter, who has been arrested for murder.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Stillwater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sz="1400" dirty="0">
                <a:solidFill>
                  <a:schemeClr val="accent6"/>
                </a:solidFill>
              </a:rPr>
              <a:t>A globetrotting journey to find the truth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hlinkClick r:id="rId4"/>
              </a:rPr>
              <a:t>Plan your campaign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49541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9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Stillwater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Stillwater</dc:description>
  <cp:lastModifiedBy/>
  <cp:revision>1</cp:revision>
  <dcterms:created xsi:type="dcterms:W3CDTF">2019-03-25T11:13:20Z</dcterms:created>
  <dcterms:modified xsi:type="dcterms:W3CDTF">2021-07-07T10:43:5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Stillwater</vt:lpwstr>
  </property>
</Properties>
</file>